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9"/>
  </p:notesMasterIdLst>
  <p:handoutMasterIdLst>
    <p:handoutMasterId r:id="rId80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9" r:id="rId14"/>
    <p:sldId id="862" r:id="rId15"/>
    <p:sldId id="861" r:id="rId16"/>
    <p:sldId id="863" r:id="rId17"/>
    <p:sldId id="864" r:id="rId18"/>
    <p:sldId id="865" r:id="rId19"/>
    <p:sldId id="842" r:id="rId20"/>
    <p:sldId id="808" r:id="rId21"/>
    <p:sldId id="810" r:id="rId22"/>
    <p:sldId id="811" r:id="rId23"/>
    <p:sldId id="843" r:id="rId24"/>
    <p:sldId id="826" r:id="rId25"/>
    <p:sldId id="827" r:id="rId26"/>
    <p:sldId id="833" r:id="rId27"/>
    <p:sldId id="830" r:id="rId28"/>
    <p:sldId id="831" r:id="rId29"/>
    <p:sldId id="832" r:id="rId30"/>
    <p:sldId id="828" r:id="rId31"/>
    <p:sldId id="829" r:id="rId32"/>
    <p:sldId id="371" r:id="rId33"/>
    <p:sldId id="858" r:id="rId34"/>
    <p:sldId id="859" r:id="rId35"/>
    <p:sldId id="840" r:id="rId36"/>
    <p:sldId id="807" r:id="rId37"/>
    <p:sldId id="398" r:id="rId38"/>
    <p:sldId id="816" r:id="rId39"/>
    <p:sldId id="399" r:id="rId40"/>
    <p:sldId id="293" r:id="rId41"/>
    <p:sldId id="817" r:id="rId42"/>
    <p:sldId id="841" r:id="rId43"/>
    <p:sldId id="821" r:id="rId44"/>
    <p:sldId id="352" r:id="rId45"/>
    <p:sldId id="818" r:id="rId46"/>
    <p:sldId id="294" r:id="rId47"/>
    <p:sldId id="295" r:id="rId48"/>
    <p:sldId id="301" r:id="rId49"/>
    <p:sldId id="296" r:id="rId50"/>
    <p:sldId id="297" r:id="rId51"/>
    <p:sldId id="299" r:id="rId52"/>
    <p:sldId id="300" r:id="rId53"/>
    <p:sldId id="302" r:id="rId54"/>
    <p:sldId id="303" r:id="rId55"/>
    <p:sldId id="304" r:id="rId56"/>
    <p:sldId id="813" r:id="rId57"/>
    <p:sldId id="824" r:id="rId58"/>
    <p:sldId id="825" r:id="rId59"/>
    <p:sldId id="815" r:id="rId60"/>
    <p:sldId id="819" r:id="rId61"/>
    <p:sldId id="349" r:id="rId62"/>
    <p:sldId id="812" r:id="rId63"/>
    <p:sldId id="347" r:id="rId64"/>
    <p:sldId id="850" r:id="rId65"/>
    <p:sldId id="852" r:id="rId66"/>
    <p:sldId id="820" r:id="rId67"/>
    <p:sldId id="845" r:id="rId68"/>
    <p:sldId id="860" r:id="rId69"/>
    <p:sldId id="836" r:id="rId70"/>
    <p:sldId id="837" r:id="rId71"/>
    <p:sldId id="848" r:id="rId72"/>
    <p:sldId id="851" r:id="rId73"/>
    <p:sldId id="348" r:id="rId74"/>
    <p:sldId id="846" r:id="rId75"/>
    <p:sldId id="847" r:id="rId76"/>
    <p:sldId id="853" r:id="rId77"/>
    <p:sldId id="298" r:id="rId78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00"/>
    <p:restoredTop sz="92484"/>
  </p:normalViewPr>
  <p:slideViewPr>
    <p:cSldViewPr>
      <p:cViewPr varScale="1">
        <p:scale>
          <a:sx n="149" d="100"/>
          <a:sy n="149" d="100"/>
        </p:scale>
        <p:origin x="1208" y="1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02/06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image" Target="../media/image7.png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9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4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3.wdp"/><Relationship Id="rId4" Type="http://schemas.openxmlformats.org/officeDocument/2006/relationships/image" Target="../media/image56.png"/><Relationship Id="rId9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7.png"/><Relationship Id="rId7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microsoft.com/office/2007/relationships/hdphoto" Target="../media/hdphoto4.wdp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microsoft.com/office/2007/relationships/hdphoto" Target="../media/hdphoto3.wdp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tiff"/><Relationship Id="rId4" Type="http://schemas.openxmlformats.org/officeDocument/2006/relationships/image" Target="../media/image70.tiff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13</TotalTime>
  <Words>2874</Words>
  <Application>Microsoft Macintosh PowerPoint</Application>
  <PresentationFormat>Affichage à l'écran (4:3)</PresentationFormat>
  <Paragraphs>950</Paragraphs>
  <Slides>77</Slides>
  <Notes>18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7</vt:i4>
      </vt:variant>
    </vt:vector>
  </HeadingPairs>
  <TitlesOfParts>
    <vt:vector size="88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1</cp:revision>
  <dcterms:created xsi:type="dcterms:W3CDTF">2003-10-13T21:05:31Z</dcterms:created>
  <dcterms:modified xsi:type="dcterms:W3CDTF">2020-06-05T01:27:44Z</dcterms:modified>
</cp:coreProperties>
</file>